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7"/>
  </p:notesMasterIdLst>
  <p:sldIdLst>
    <p:sldId id="2146845362" r:id="rId5"/>
    <p:sldId id="2146845363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er Richwood" initials="AR" lastIdx="1" clrIdx="0">
    <p:extLst>
      <p:ext uri="{19B8F6BF-5375-455C-9EA6-DF929625EA0E}">
        <p15:presenceInfo xmlns:p15="http://schemas.microsoft.com/office/powerpoint/2012/main" userId="S::alexander.richwood@veeva.com::6a746949-975a-4404-914f-fa4a61014c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CFC9"/>
    <a:srgbClr val="00463E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75DE32-9B8F-48B0-B743-61594EAA796E}" v="93" dt="2021-04-26T09:41:07.7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2" autoAdjust="0"/>
    <p:restoredTop sz="96357" autoAdjust="0"/>
  </p:normalViewPr>
  <p:slideViewPr>
    <p:cSldViewPr snapToGrid="0">
      <p:cViewPr varScale="1">
        <p:scale>
          <a:sx n="92" d="100"/>
          <a:sy n="92" d="100"/>
        </p:scale>
        <p:origin x="108" y="4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Richwood" userId="6a746949-975a-4404-914f-fa4a61014c27" providerId="ADAL" clId="{0575DE32-9B8F-48B0-B743-61594EAA796E}"/>
    <pc:docChg chg="undo redo custSel addSld delSld modSld sldOrd delMainMaster">
      <pc:chgData name="Alexander Richwood" userId="6a746949-975a-4404-914f-fa4a61014c27" providerId="ADAL" clId="{0575DE32-9B8F-48B0-B743-61594EAA796E}" dt="2021-04-26T09:43:52.278" v="3571" actId="20577"/>
      <pc:docMkLst>
        <pc:docMk/>
      </pc:docMkLst>
      <pc:sldChg chg="del">
        <pc:chgData name="Alexander Richwood" userId="6a746949-975a-4404-914f-fa4a61014c27" providerId="ADAL" clId="{0575DE32-9B8F-48B0-B743-61594EAA796E}" dt="2021-04-23T07:26:33.881" v="3" actId="47"/>
        <pc:sldMkLst>
          <pc:docMk/>
          <pc:sldMk cId="109857222" sldId="256"/>
        </pc:sldMkLst>
      </pc:sldChg>
      <pc:sldChg chg="delSp modSp add del mod">
        <pc:chgData name="Alexander Richwood" userId="6a746949-975a-4404-914f-fa4a61014c27" providerId="ADAL" clId="{0575DE32-9B8F-48B0-B743-61594EAA796E}" dt="2021-04-26T09:43:20.146" v="3570" actId="47"/>
        <pc:sldMkLst>
          <pc:docMk/>
          <pc:sldMk cId="660608739" sldId="2146845360"/>
        </pc:sldMkLst>
        <pc:cxnChg chg="del mod">
          <ac:chgData name="Alexander Richwood" userId="6a746949-975a-4404-914f-fa4a61014c27" providerId="ADAL" clId="{0575DE32-9B8F-48B0-B743-61594EAA796E}" dt="2021-04-26T07:14:47.743" v="67" actId="478"/>
          <ac:cxnSpMkLst>
            <pc:docMk/>
            <pc:sldMk cId="660608739" sldId="2146845360"/>
            <ac:cxnSpMk id="7" creationId="{A556AF9E-61B9-0C4F-AC9C-A2D33BDE4990}"/>
          </ac:cxnSpMkLst>
        </pc:cxnChg>
      </pc:sldChg>
      <pc:sldChg chg="addSp delSp modSp new del mod ord">
        <pc:chgData name="Alexander Richwood" userId="6a746949-975a-4404-914f-fa4a61014c27" providerId="ADAL" clId="{0575DE32-9B8F-48B0-B743-61594EAA796E}" dt="2021-04-26T09:43:20.146" v="3570" actId="47"/>
        <pc:sldMkLst>
          <pc:docMk/>
          <pc:sldMk cId="2152849841" sldId="2146845361"/>
        </pc:sldMkLst>
        <pc:spChg chg="mod">
          <ac:chgData name="Alexander Richwood" userId="6a746949-975a-4404-914f-fa4a61014c27" providerId="ADAL" clId="{0575DE32-9B8F-48B0-B743-61594EAA796E}" dt="2021-04-23T07:29:57.678" v="37" actId="20577"/>
          <ac:spMkLst>
            <pc:docMk/>
            <pc:sldMk cId="2152849841" sldId="2146845361"/>
            <ac:spMk id="2" creationId="{65877B10-1370-4C12-81F7-02D71C8FFB6F}"/>
          </ac:spMkLst>
        </pc:spChg>
        <pc:spChg chg="del">
          <ac:chgData name="Alexander Richwood" userId="6a746949-975a-4404-914f-fa4a61014c27" providerId="ADAL" clId="{0575DE32-9B8F-48B0-B743-61594EAA796E}" dt="2021-04-23T07:30:02.768" v="38" actId="3680"/>
          <ac:spMkLst>
            <pc:docMk/>
            <pc:sldMk cId="2152849841" sldId="2146845361"/>
            <ac:spMk id="3" creationId="{2F7042F7-B758-4A15-A946-187F5E36AEC7}"/>
          </ac:spMkLst>
        </pc:spChg>
        <pc:graphicFrameChg chg="add mod ord modGraphic">
          <ac:chgData name="Alexander Richwood" userId="6a746949-975a-4404-914f-fa4a61014c27" providerId="ADAL" clId="{0575DE32-9B8F-48B0-B743-61594EAA796E}" dt="2021-04-23T07:32:22.656" v="66" actId="2162"/>
          <ac:graphicFrameMkLst>
            <pc:docMk/>
            <pc:sldMk cId="2152849841" sldId="2146845361"/>
            <ac:graphicFrameMk id="4" creationId="{F50737A7-6362-4D4F-9755-0D94DBB6ADAC}"/>
          </ac:graphicFrameMkLst>
        </pc:graphicFrameChg>
      </pc:sldChg>
      <pc:sldChg chg="addSp delSp modSp add mod modNotesTx">
        <pc:chgData name="Alexander Richwood" userId="6a746949-975a-4404-914f-fa4a61014c27" providerId="ADAL" clId="{0575DE32-9B8F-48B0-B743-61594EAA796E}" dt="2021-04-26T09:43:52.278" v="3571" actId="20577"/>
        <pc:sldMkLst>
          <pc:docMk/>
          <pc:sldMk cId="14846742" sldId="2146845362"/>
        </pc:sldMkLst>
        <pc:spChg chg="mod">
          <ac:chgData name="Alexander Richwood" userId="6a746949-975a-4404-914f-fa4a61014c27" providerId="ADAL" clId="{0575DE32-9B8F-48B0-B743-61594EAA796E}" dt="2021-04-26T08:07:07.697" v="597" actId="20577"/>
          <ac:spMkLst>
            <pc:docMk/>
            <pc:sldMk cId="14846742" sldId="2146845362"/>
            <ac:spMk id="2" creationId="{C7D3E19A-A59D-4391-BE66-5FC951D8322B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3" creationId="{33C2E54E-2B73-4E31-9FA9-9C5D7842F532}"/>
          </ac:spMkLst>
        </pc:spChg>
        <pc:spChg chg="del">
          <ac:chgData name="Alexander Richwood" userId="6a746949-975a-4404-914f-fa4a61014c27" providerId="ADAL" clId="{0575DE32-9B8F-48B0-B743-61594EAA796E}" dt="2021-04-26T07:59:13.615" v="524" actId="478"/>
          <ac:spMkLst>
            <pc:docMk/>
            <pc:sldMk cId="14846742" sldId="2146845362"/>
            <ac:spMk id="4" creationId="{ABECBB82-9CB1-CF4E-8F27-F1C8B645D9B4}"/>
          </ac:spMkLst>
        </pc:spChg>
        <pc:spChg chg="del">
          <ac:chgData name="Alexander Richwood" userId="6a746949-975a-4404-914f-fa4a61014c27" providerId="ADAL" clId="{0575DE32-9B8F-48B0-B743-61594EAA796E}" dt="2021-04-26T07:15:36.928" v="69" actId="478"/>
          <ac:spMkLst>
            <pc:docMk/>
            <pc:sldMk cId="14846742" sldId="2146845362"/>
            <ac:spMk id="5" creationId="{76E400FF-D866-407C-9B4D-6F61A221E34C}"/>
          </ac:spMkLst>
        </pc:spChg>
        <pc:spChg chg="add del mod">
          <ac:chgData name="Alexander Richwood" userId="6a746949-975a-4404-914f-fa4a61014c27" providerId="ADAL" clId="{0575DE32-9B8F-48B0-B743-61594EAA796E}" dt="2021-04-26T08:33:24.695" v="1154" actId="478"/>
          <ac:spMkLst>
            <pc:docMk/>
            <pc:sldMk cId="14846742" sldId="2146845362"/>
            <ac:spMk id="6" creationId="{476879D0-7194-4215-829B-C6CE9FCE5F23}"/>
          </ac:spMkLst>
        </pc:spChg>
        <pc:spChg chg="add 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7" creationId="{D99942E7-5C16-4CE5-8978-7A1CE60D11FB}"/>
          </ac:spMkLst>
        </pc:spChg>
        <pc:spChg chg="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9" creationId="{760A9A7E-39F9-4955-8CDE-0095EC0B11C1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10" creationId="{5E6D2913-8388-46A1-A418-A308F980BBA3}"/>
          </ac:spMkLst>
        </pc:spChg>
        <pc:spChg chg="del mod">
          <ac:chgData name="Alexander Richwood" userId="6a746949-975a-4404-914f-fa4a61014c27" providerId="ADAL" clId="{0575DE32-9B8F-48B0-B743-61594EAA796E}" dt="2021-04-26T07:56:42.154" v="392" actId="478"/>
          <ac:spMkLst>
            <pc:docMk/>
            <pc:sldMk cId="14846742" sldId="2146845362"/>
            <ac:spMk id="15" creationId="{FFC93FF3-1B69-431E-A0FF-F2132331F232}"/>
          </ac:spMkLst>
        </pc:spChg>
        <pc:spChg chg="del">
          <ac:chgData name="Alexander Richwood" userId="6a746949-975a-4404-914f-fa4a61014c27" providerId="ADAL" clId="{0575DE32-9B8F-48B0-B743-61594EAA796E}" dt="2021-04-26T07:16:15.036" v="71" actId="478"/>
          <ac:spMkLst>
            <pc:docMk/>
            <pc:sldMk cId="14846742" sldId="2146845362"/>
            <ac:spMk id="19" creationId="{8A0A97E2-4D79-4050-BA87-BDC743D68E76}"/>
          </ac:spMkLst>
        </pc:spChg>
        <pc:spChg chg="del">
          <ac:chgData name="Alexander Richwood" userId="6a746949-975a-4404-914f-fa4a61014c27" providerId="ADAL" clId="{0575DE32-9B8F-48B0-B743-61594EAA796E}" dt="2021-04-26T07:16:15.036" v="71" actId="478"/>
          <ac:spMkLst>
            <pc:docMk/>
            <pc:sldMk cId="14846742" sldId="2146845362"/>
            <ac:spMk id="22" creationId="{8D411DFD-C624-48F0-84F2-D4E6CACA4804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28" creationId="{D8210958-E53F-4741-8B8D-158D67D286FA}"/>
          </ac:spMkLst>
        </pc:spChg>
        <pc:spChg chg="add del mod">
          <ac:chgData name="Alexander Richwood" userId="6a746949-975a-4404-914f-fa4a61014c27" providerId="ADAL" clId="{0575DE32-9B8F-48B0-B743-61594EAA796E}" dt="2021-04-26T07:55:04.698" v="384" actId="478"/>
          <ac:spMkLst>
            <pc:docMk/>
            <pc:sldMk cId="14846742" sldId="2146845362"/>
            <ac:spMk id="30" creationId="{72028375-329E-4A6C-9526-7CAD7CD3FD24}"/>
          </ac:spMkLst>
        </pc:spChg>
        <pc:spChg chg="add del mod">
          <ac:chgData name="Alexander Richwood" userId="6a746949-975a-4404-914f-fa4a61014c27" providerId="ADAL" clId="{0575DE32-9B8F-48B0-B743-61594EAA796E}" dt="2021-04-26T08:33:24.695" v="1154" actId="478"/>
          <ac:spMkLst>
            <pc:docMk/>
            <pc:sldMk cId="14846742" sldId="2146845362"/>
            <ac:spMk id="31" creationId="{26D7FFEE-E09F-4C21-A377-DAE50C943D20}"/>
          </ac:spMkLst>
        </pc:spChg>
        <pc:spChg chg="del">
          <ac:chgData name="Alexander Richwood" userId="6a746949-975a-4404-914f-fa4a61014c27" providerId="ADAL" clId="{0575DE32-9B8F-48B0-B743-61594EAA796E}" dt="2021-04-26T07:16:15.036" v="71" actId="478"/>
          <ac:spMkLst>
            <pc:docMk/>
            <pc:sldMk cId="14846742" sldId="2146845362"/>
            <ac:spMk id="32" creationId="{2AD1B1AA-AE9F-413C-9E8B-A9DA170D7422}"/>
          </ac:spMkLst>
        </pc:spChg>
        <pc:spChg chg="add del mod">
          <ac:chgData name="Alexander Richwood" userId="6a746949-975a-4404-914f-fa4a61014c27" providerId="ADAL" clId="{0575DE32-9B8F-48B0-B743-61594EAA796E}" dt="2021-04-26T07:29:27.787" v="367" actId="478"/>
          <ac:spMkLst>
            <pc:docMk/>
            <pc:sldMk cId="14846742" sldId="2146845362"/>
            <ac:spMk id="33" creationId="{C8EA2598-00CF-4A4B-BBD7-A1A1106A98FC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34" creationId="{499F7CD2-0F5F-4CCB-9879-6D8FEAE71CAB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35" creationId="{0A570103-8944-445D-A7E1-288ECA395315}"/>
          </ac:spMkLst>
        </pc:spChg>
        <pc:spChg chg="del mod">
          <ac:chgData name="Alexander Richwood" userId="6a746949-975a-4404-914f-fa4a61014c27" providerId="ADAL" clId="{0575DE32-9B8F-48B0-B743-61594EAA796E}" dt="2021-04-26T08:33:24.695" v="1154" actId="478"/>
          <ac:spMkLst>
            <pc:docMk/>
            <pc:sldMk cId="14846742" sldId="2146845362"/>
            <ac:spMk id="36" creationId="{7A1EE0E6-D47E-4033-BE00-750B3DD43879}"/>
          </ac:spMkLst>
        </pc:spChg>
        <pc:spChg chg="add del mod">
          <ac:chgData name="Alexander Richwood" userId="6a746949-975a-4404-914f-fa4a61014c27" providerId="ADAL" clId="{0575DE32-9B8F-48B0-B743-61594EAA796E}" dt="2021-04-26T08:33:24.695" v="1154" actId="478"/>
          <ac:spMkLst>
            <pc:docMk/>
            <pc:sldMk cId="14846742" sldId="2146845362"/>
            <ac:spMk id="37" creationId="{DEF43898-87A8-4583-B0B4-D69DB5853AD9}"/>
          </ac:spMkLst>
        </pc:spChg>
        <pc:spChg chg="add del mod">
          <ac:chgData name="Alexander Richwood" userId="6a746949-975a-4404-914f-fa4a61014c27" providerId="ADAL" clId="{0575DE32-9B8F-48B0-B743-61594EAA796E}" dt="2021-04-26T08:33:24.695" v="1154" actId="478"/>
          <ac:spMkLst>
            <pc:docMk/>
            <pc:sldMk cId="14846742" sldId="2146845362"/>
            <ac:spMk id="38" creationId="{FFB13261-6811-4F07-9DD4-357702AA5B39}"/>
          </ac:spMkLst>
        </pc:spChg>
        <pc:spChg chg="del">
          <ac:chgData name="Alexander Richwood" userId="6a746949-975a-4404-914f-fa4a61014c27" providerId="ADAL" clId="{0575DE32-9B8F-48B0-B743-61594EAA796E}" dt="2021-04-26T07:16:15.036" v="71" actId="478"/>
          <ac:spMkLst>
            <pc:docMk/>
            <pc:sldMk cId="14846742" sldId="2146845362"/>
            <ac:spMk id="39" creationId="{5F06B8C1-6334-48D6-9096-EDAF05BC53C9}"/>
          </ac:spMkLst>
        </pc:spChg>
        <pc:spChg chg="add del mod">
          <ac:chgData name="Alexander Richwood" userId="6a746949-975a-4404-914f-fa4a61014c27" providerId="ADAL" clId="{0575DE32-9B8F-48B0-B743-61594EAA796E}" dt="2021-04-26T08:33:24.695" v="1154" actId="478"/>
          <ac:spMkLst>
            <pc:docMk/>
            <pc:sldMk cId="14846742" sldId="2146845362"/>
            <ac:spMk id="40" creationId="{D4F045C4-6A58-4BB4-8DB1-70DA076C8489}"/>
          </ac:spMkLst>
        </pc:spChg>
        <pc:spChg chg="add 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41" creationId="{28F3A7A4-8EE1-49F5-BF08-9A04E80F4D4F}"/>
          </ac:spMkLst>
        </pc:spChg>
        <pc:spChg chg="del">
          <ac:chgData name="Alexander Richwood" userId="6a746949-975a-4404-914f-fa4a61014c27" providerId="ADAL" clId="{0575DE32-9B8F-48B0-B743-61594EAA796E}" dt="2021-04-26T07:59:13.615" v="524" actId="478"/>
          <ac:spMkLst>
            <pc:docMk/>
            <pc:sldMk cId="14846742" sldId="2146845362"/>
            <ac:spMk id="42" creationId="{653C53B1-C8A3-4980-8B7F-8FF6BA08881A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43" creationId="{168D4DA9-9A2D-4F90-8147-EC230E733CBB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44" creationId="{F8838902-71BD-43EC-BD67-EF6461D5B54C}"/>
          </ac:spMkLst>
        </pc:spChg>
        <pc:spChg chg="del">
          <ac:chgData name="Alexander Richwood" userId="6a746949-975a-4404-914f-fa4a61014c27" providerId="ADAL" clId="{0575DE32-9B8F-48B0-B743-61594EAA796E}" dt="2021-04-26T07:15:36.928" v="69" actId="478"/>
          <ac:spMkLst>
            <pc:docMk/>
            <pc:sldMk cId="14846742" sldId="2146845362"/>
            <ac:spMk id="45" creationId="{82F16ECA-C932-47B8-A94C-C5AF01A22259}"/>
          </ac:spMkLst>
        </pc:spChg>
        <pc:spChg chg="del">
          <ac:chgData name="Alexander Richwood" userId="6a746949-975a-4404-914f-fa4a61014c27" providerId="ADAL" clId="{0575DE32-9B8F-48B0-B743-61594EAA796E}" dt="2021-04-26T07:15:36.928" v="69" actId="478"/>
          <ac:spMkLst>
            <pc:docMk/>
            <pc:sldMk cId="14846742" sldId="2146845362"/>
            <ac:spMk id="46" creationId="{687020AB-EAFC-4C70-93D2-E2351ED87F33}"/>
          </ac:spMkLst>
        </pc:spChg>
        <pc:spChg chg="del">
          <ac:chgData name="Alexander Richwood" userId="6a746949-975a-4404-914f-fa4a61014c27" providerId="ADAL" clId="{0575DE32-9B8F-48B0-B743-61594EAA796E}" dt="2021-04-26T07:59:13.615" v="524" actId="478"/>
          <ac:spMkLst>
            <pc:docMk/>
            <pc:sldMk cId="14846742" sldId="2146845362"/>
            <ac:spMk id="47" creationId="{F180F9B2-A62E-4D42-A639-2EF9AAFA067E}"/>
          </ac:spMkLst>
        </pc:spChg>
        <pc:spChg chg="del">
          <ac:chgData name="Alexander Richwood" userId="6a746949-975a-4404-914f-fa4a61014c27" providerId="ADAL" clId="{0575DE32-9B8F-48B0-B743-61594EAA796E}" dt="2021-04-26T07:59:13.615" v="524" actId="478"/>
          <ac:spMkLst>
            <pc:docMk/>
            <pc:sldMk cId="14846742" sldId="2146845362"/>
            <ac:spMk id="48" creationId="{49A2E00D-2BB4-4F60-B23B-D68E0AC8E8B6}"/>
          </ac:spMkLst>
        </pc:spChg>
        <pc:spChg chg="add 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49" creationId="{CD91DEE9-20CF-4947-AD1F-DA5C6C83A73E}"/>
          </ac:spMkLst>
        </pc:spChg>
        <pc:spChg chg="del">
          <ac:chgData name="Alexander Richwood" userId="6a746949-975a-4404-914f-fa4a61014c27" providerId="ADAL" clId="{0575DE32-9B8F-48B0-B743-61594EAA796E}" dt="2021-04-26T07:15:36.928" v="69" actId="478"/>
          <ac:spMkLst>
            <pc:docMk/>
            <pc:sldMk cId="14846742" sldId="2146845362"/>
            <ac:spMk id="50" creationId="{85B49105-BE2D-484F-B23F-9452B0B05A6F}"/>
          </ac:spMkLst>
        </pc:spChg>
        <pc:spChg chg="add 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51" creationId="{E73B80B9-2464-4CE1-8931-CF87FBF5BD2C}"/>
          </ac:spMkLst>
        </pc:spChg>
        <pc:spChg chg="add 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52" creationId="{AD93C26C-300D-4148-B409-3B99F01CF3FC}"/>
          </ac:spMkLst>
        </pc:spChg>
        <pc:spChg chg="add mod">
          <ac:chgData name="Alexander Richwood" userId="6a746949-975a-4404-914f-fa4a61014c27" providerId="ADAL" clId="{0575DE32-9B8F-48B0-B743-61594EAA796E}" dt="2021-04-26T08:00:11.413" v="531" actId="164"/>
          <ac:spMkLst>
            <pc:docMk/>
            <pc:sldMk cId="14846742" sldId="2146845362"/>
            <ac:spMk id="53" creationId="{B11F7B8E-C08D-4776-AAA7-87A1793FCA21}"/>
          </ac:spMkLst>
        </pc:spChg>
        <pc:spChg chg="del">
          <ac:chgData name="Alexander Richwood" userId="6a746949-975a-4404-914f-fa4a61014c27" providerId="ADAL" clId="{0575DE32-9B8F-48B0-B743-61594EAA796E}" dt="2021-04-26T07:15:42.294" v="70" actId="478"/>
          <ac:spMkLst>
            <pc:docMk/>
            <pc:sldMk cId="14846742" sldId="2146845362"/>
            <ac:spMk id="54" creationId="{F9D122D3-078D-4CE8-8FCD-A48366839A82}"/>
          </ac:spMkLst>
        </pc:spChg>
        <pc:spChg chg="del mod">
          <ac:chgData name="Alexander Richwood" userId="6a746949-975a-4404-914f-fa4a61014c27" providerId="ADAL" clId="{0575DE32-9B8F-48B0-B743-61594EAA796E}" dt="2021-04-26T07:56:36.645" v="391" actId="478"/>
          <ac:spMkLst>
            <pc:docMk/>
            <pc:sldMk cId="14846742" sldId="2146845362"/>
            <ac:spMk id="58" creationId="{AE2304E0-6B0F-4C2F-B07F-BF7D43612F36}"/>
          </ac:spMkLst>
        </pc:spChg>
        <pc:grpChg chg="add del mod">
          <ac:chgData name="Alexander Richwood" userId="6a746949-975a-4404-914f-fa4a61014c27" providerId="ADAL" clId="{0575DE32-9B8F-48B0-B743-61594EAA796E}" dt="2021-04-26T08:33:24.695" v="1154" actId="478"/>
          <ac:grpSpMkLst>
            <pc:docMk/>
            <pc:sldMk cId="14846742" sldId="2146845362"/>
            <ac:grpSpMk id="8" creationId="{48E7B0C4-EADF-4E73-A030-83DD52B65960}"/>
          </ac:grpSpMkLst>
        </pc:grpChg>
        <pc:graphicFrameChg chg="add mod modGraphic">
          <ac:chgData name="Alexander Richwood" userId="6a746949-975a-4404-914f-fa4a61014c27" providerId="ADAL" clId="{0575DE32-9B8F-48B0-B743-61594EAA796E}" dt="2021-04-26T09:43:52.278" v="3571" actId="20577"/>
          <ac:graphicFrameMkLst>
            <pc:docMk/>
            <pc:sldMk cId="14846742" sldId="2146845362"/>
            <ac:graphicFrameMk id="11" creationId="{28A78B97-560D-4E5B-B2CF-CD166C5F68D5}"/>
          </ac:graphicFrameMkLst>
        </pc:graphicFrameChg>
        <pc:graphicFrameChg chg="del mod">
          <ac:chgData name="Alexander Richwood" userId="6a746949-975a-4404-914f-fa4a61014c27" providerId="ADAL" clId="{0575DE32-9B8F-48B0-B743-61594EAA796E}" dt="2021-04-26T07:56:36.645" v="391" actId="478"/>
          <ac:graphicFrameMkLst>
            <pc:docMk/>
            <pc:sldMk cId="14846742" sldId="2146845362"/>
            <ac:graphicFrameMk id="20" creationId="{1B9F6AF6-8D70-457B-9D1B-573B6BD9C74D}"/>
          </ac:graphicFrameMkLst>
        </pc:graphicFrameChg>
        <pc:graphicFrameChg chg="add del mod modGraphic">
          <ac:chgData name="Alexander Richwood" userId="6a746949-975a-4404-914f-fa4a61014c27" providerId="ADAL" clId="{0575DE32-9B8F-48B0-B743-61594EAA796E}" dt="2021-04-26T08:33:24.695" v="1154" actId="478"/>
          <ac:graphicFrameMkLst>
            <pc:docMk/>
            <pc:sldMk cId="14846742" sldId="2146845362"/>
            <ac:graphicFrameMk id="29" creationId="{86F67345-CCDD-46CC-9E32-D36CC6EEA475}"/>
          </ac:graphicFrameMkLst>
        </pc:graphicFrameChg>
      </pc:sldChg>
      <pc:sldChg chg="addSp delSp modSp add mod addCm modCm">
        <pc:chgData name="Alexander Richwood" userId="6a746949-975a-4404-914f-fa4a61014c27" providerId="ADAL" clId="{0575DE32-9B8F-48B0-B743-61594EAA796E}" dt="2021-04-26T09:38:24.076" v="2949" actId="5900"/>
        <pc:sldMkLst>
          <pc:docMk/>
          <pc:sldMk cId="3292674539" sldId="2146845363"/>
        </pc:sldMkLst>
        <pc:spChg chg="mod">
          <ac:chgData name="Alexander Richwood" userId="6a746949-975a-4404-914f-fa4a61014c27" providerId="ADAL" clId="{0575DE32-9B8F-48B0-B743-61594EAA796E}" dt="2021-04-26T09:38:12.969" v="2947" actId="20577"/>
          <ac:spMkLst>
            <pc:docMk/>
            <pc:sldMk cId="3292674539" sldId="2146845363"/>
            <ac:spMk id="2" creationId="{C7D3E19A-A59D-4391-BE66-5FC951D8322B}"/>
          </ac:spMkLst>
        </pc:spChg>
        <pc:spChg chg="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" creationId="{476879D0-7194-4215-829B-C6CE9FCE5F23}"/>
          </ac:spMkLst>
        </pc:spChg>
        <pc:spChg chg="mo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7" creationId="{D99942E7-5C16-4CE5-8978-7A1CE60D11FB}"/>
          </ac:spMkLst>
        </pc:spChg>
        <pc:spChg chg="mod or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9" creationId="{760A9A7E-39F9-4955-8CDE-0095EC0B11C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19" creationId="{A8DC9C3B-CDAE-4B39-9A2B-C05ED9F7BAC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0" creationId="{3117AC55-252D-4DF5-A7B8-93ECB2ED06C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1" creationId="{EA666A11-30A0-479C-8ADC-8EE1440E8CDD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2" creationId="{C852FECF-71E3-4420-AF6B-7A203EE4001F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3" creationId="{B522B0BA-A7F9-4173-BA19-D6D6B95FAD90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4" creationId="{015DCEDB-BD8A-4AA9-B274-A890FA7EACE2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5" creationId="{51BFBE32-F28A-4195-9FEF-32432E1259AA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26" creationId="{24AF3A23-51EB-42AE-84B5-63CE1E785535}"/>
          </ac:spMkLst>
        </pc:spChg>
        <pc:spChg chg="add del mod">
          <ac:chgData name="Alexander Richwood" userId="6a746949-975a-4404-914f-fa4a61014c27" providerId="ADAL" clId="{0575DE32-9B8F-48B0-B743-61594EAA796E}" dt="2021-04-26T08:23:30.015" v="822"/>
          <ac:spMkLst>
            <pc:docMk/>
            <pc:sldMk cId="3292674539" sldId="2146845363"/>
            <ac:spMk id="27" creationId="{64A00C82-DCE0-4B8A-9736-6F45FBACFF2B}"/>
          </ac:spMkLst>
        </pc:spChg>
        <pc:spChg chg="add del mod">
          <ac:chgData name="Alexander Richwood" userId="6a746949-975a-4404-914f-fa4a61014c27" providerId="ADAL" clId="{0575DE32-9B8F-48B0-B743-61594EAA796E}" dt="2021-04-26T08:23:30.015" v="822"/>
          <ac:spMkLst>
            <pc:docMk/>
            <pc:sldMk cId="3292674539" sldId="2146845363"/>
            <ac:spMk id="28" creationId="{A03DD44E-299C-438F-BD99-0A32B4220E09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0" creationId="{E36D86F5-DBF5-47A1-859A-0739EE11BB05}"/>
          </ac:spMkLst>
        </pc:spChg>
        <pc:spChg chg="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1" creationId="{26D7FFEE-E09F-4C21-A377-DAE50C943D20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2" creationId="{FB41C81A-1007-45AE-B7FD-484D4A41F254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3" creationId="{E816CFE5-8B31-4EF9-9ADD-FE7F9CDB2D0B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4" creationId="{ACA85FE6-BEB7-40E8-94FF-8FC9B24057FD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5" creationId="{5874CAB7-ACFF-42C3-9CE1-E0DDD86AF449}"/>
          </ac:spMkLst>
        </pc:spChg>
        <pc:spChg chg="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6" creationId="{7A1EE0E6-D47E-4033-BE00-750B3DD43879}"/>
          </ac:spMkLst>
        </pc:spChg>
        <pc:spChg chg="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7" creationId="{DEF43898-87A8-4583-B0B4-D69DB5853AD9}"/>
          </ac:spMkLst>
        </pc:spChg>
        <pc:spChg chg="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8" creationId="{FFB13261-6811-4F07-9DD4-357702AA5B39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39" creationId="{005A13F5-5BC6-44E8-9475-858AC595CBD9}"/>
          </ac:spMkLst>
        </pc:spChg>
        <pc:spChg chg="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0" creationId="{D4F045C4-6A58-4BB4-8DB1-70DA076C8489}"/>
          </ac:spMkLst>
        </pc:spChg>
        <pc:spChg chg="mod or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1" creationId="{28F3A7A4-8EE1-49F5-BF08-9A04E80F4D4F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2" creationId="{B6B1B18E-1B76-4151-A9B3-ABFB788B75DE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3" creationId="{C594E4A0-EAB3-4408-A6FB-177BF402BE2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4" creationId="{90963949-24C8-4896-9351-9F1FE135ACC3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5" creationId="{CD601651-5B27-4426-921C-1AA1F1C8A95B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6" creationId="{D83583CA-D79B-451B-800C-E73680E72F88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7" creationId="{BC909AA4-8ACC-4677-8C20-E8C662112837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8" creationId="{7219837D-E94D-4E8F-872D-1C7B2B1AFF9F}"/>
          </ac:spMkLst>
        </pc:spChg>
        <pc:spChg chg="mod or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49" creationId="{CD91DEE9-20CF-4947-AD1F-DA5C6C83A73E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0" creationId="{DF8B2C0E-45EB-438E-8F85-35EBA6D357C0}"/>
          </ac:spMkLst>
        </pc:spChg>
        <pc:spChg chg="mod or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1" creationId="{E73B80B9-2464-4CE1-8931-CF87FBF5BD2C}"/>
          </ac:spMkLst>
        </pc:spChg>
        <pc:spChg chg="mod or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2" creationId="{AD93C26C-300D-4148-B409-3B99F01CF3FC}"/>
          </ac:spMkLst>
        </pc:spChg>
        <pc:spChg chg="mod ord topLvl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3" creationId="{B11F7B8E-C08D-4776-AAA7-87A1793FCA2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4" creationId="{FA0A3A82-DDA9-401A-BED4-91EED5E5A607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5" creationId="{6EB6BEB9-46B8-49A5-A1DB-3D76ABDE1346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6" creationId="{D1CFE09D-0722-4077-8B46-F5CDCD2EA733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7" creationId="{D9E19164-CFF7-4D9D-83F2-9B371DF72432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8" creationId="{0BB70AF9-E8DB-445D-A76E-7F5AC992ED06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59" creationId="{0C984959-0315-42B6-85B0-C7FD82E13B1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0" creationId="{4A82E291-E078-40B5-B41A-6069BB271939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1" creationId="{1F4B1EBC-AD16-482F-A6BB-21A82C3A5B22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2" creationId="{FC52689F-D027-45E5-9817-4F2812EB825F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3" creationId="{8BC6B513-AADA-4ED7-A0DC-03DF60D3FDB6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4" creationId="{C3A900E7-24D0-401E-B905-8AB114F02554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5" creationId="{606AFB01-1B51-4D0D-9F93-85AB911549EF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6" creationId="{28938D57-6C60-4520-97FD-E6ADBBF00934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7" creationId="{B5417441-C3EC-45BC-9F14-3907A8148D2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8" creationId="{EB541136-B457-4F4A-9B53-AB00B2694497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69" creationId="{70EBC666-77A1-4FB0-B7B5-830359ACFAF9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70" creationId="{E1259913-8EC7-4C5C-9D41-DEB82FACF02F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71" creationId="{F43C0426-1504-4E6A-8059-709A40F563A7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72" creationId="{852A22C0-46C2-4733-B974-82CD68F431C1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73" creationId="{423C0810-2383-401F-AC58-4FE0AF4C79CA}"/>
          </ac:spMkLst>
        </pc:spChg>
        <pc:spChg chg="add mod">
          <ac:chgData name="Alexander Richwood" userId="6a746949-975a-4404-914f-fa4a61014c27" providerId="ADAL" clId="{0575DE32-9B8F-48B0-B743-61594EAA796E}" dt="2021-04-26T09:38:20.925" v="2948" actId="1076"/>
          <ac:spMkLst>
            <pc:docMk/>
            <pc:sldMk cId="3292674539" sldId="2146845363"/>
            <ac:spMk id="74" creationId="{0536862A-0D00-429C-BBEB-7A0EFA413D76}"/>
          </ac:spMkLst>
        </pc:spChg>
        <pc:spChg chg="add del mod">
          <ac:chgData name="Alexander Richwood" userId="6a746949-975a-4404-914f-fa4a61014c27" providerId="ADAL" clId="{0575DE32-9B8F-48B0-B743-61594EAA796E}" dt="2021-04-26T09:08:23.853" v="2328" actId="478"/>
          <ac:spMkLst>
            <pc:docMk/>
            <pc:sldMk cId="3292674539" sldId="2146845363"/>
            <ac:spMk id="75" creationId="{8E1D4063-CDDB-48B4-8FBE-1F078BCD0149}"/>
          </ac:spMkLst>
        </pc:spChg>
        <pc:spChg chg="add del mod">
          <ac:chgData name="Alexander Richwood" userId="6a746949-975a-4404-914f-fa4a61014c27" providerId="ADAL" clId="{0575DE32-9B8F-48B0-B743-61594EAA796E}" dt="2021-04-26T09:08:22.761" v="2327" actId="478"/>
          <ac:spMkLst>
            <pc:docMk/>
            <pc:sldMk cId="3292674539" sldId="2146845363"/>
            <ac:spMk id="76" creationId="{FB68B953-AAAB-42DC-897A-7DCD1B5C8DA7}"/>
          </ac:spMkLst>
        </pc:spChg>
        <pc:grpChg chg="del mod">
          <ac:chgData name="Alexander Richwood" userId="6a746949-975a-4404-914f-fa4a61014c27" providerId="ADAL" clId="{0575DE32-9B8F-48B0-B743-61594EAA796E}" dt="2021-04-26T09:09:24.585" v="2374" actId="165"/>
          <ac:grpSpMkLst>
            <pc:docMk/>
            <pc:sldMk cId="3292674539" sldId="2146845363"/>
            <ac:grpSpMk id="8" creationId="{48E7B0C4-EADF-4E73-A030-83DD52B65960}"/>
          </ac:grpSpMkLst>
        </pc:grpChg>
        <pc:graphicFrameChg chg="del">
          <ac:chgData name="Alexander Richwood" userId="6a746949-975a-4404-914f-fa4a61014c27" providerId="ADAL" clId="{0575DE32-9B8F-48B0-B743-61594EAA796E}" dt="2021-04-26T08:08:30.988" v="636" actId="478"/>
          <ac:graphicFrameMkLst>
            <pc:docMk/>
            <pc:sldMk cId="3292674539" sldId="2146845363"/>
            <ac:graphicFrameMk id="11" creationId="{28A78B97-560D-4E5B-B2CF-CD166C5F68D5}"/>
          </ac:graphicFrameMkLst>
        </pc:graphicFrameChg>
        <pc:graphicFrameChg chg="mod ord modGraphic">
          <ac:chgData name="Alexander Richwood" userId="6a746949-975a-4404-914f-fa4a61014c27" providerId="ADAL" clId="{0575DE32-9B8F-48B0-B743-61594EAA796E}" dt="2021-04-26T09:38:20.925" v="2948" actId="1076"/>
          <ac:graphicFrameMkLst>
            <pc:docMk/>
            <pc:sldMk cId="3292674539" sldId="2146845363"/>
            <ac:graphicFrameMk id="29" creationId="{86F67345-CCDD-46CC-9E32-D36CC6EEA475}"/>
          </ac:graphicFrameMkLst>
        </pc:graphicFrameChg>
      </pc:sldChg>
      <pc:sldMasterChg chg="del delSldLayout">
        <pc:chgData name="Alexander Richwood" userId="6a746949-975a-4404-914f-fa4a61014c27" providerId="ADAL" clId="{0575DE32-9B8F-48B0-B743-61594EAA796E}" dt="2021-04-23T07:26:33.881" v="3" actId="47"/>
        <pc:sldMasterMkLst>
          <pc:docMk/>
          <pc:sldMasterMk cId="2460954070" sldId="2147483660"/>
        </pc:sldMasterMkLst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2385387890" sldId="2147483661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949138452" sldId="2147483662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2591524520" sldId="2147483663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1203092039" sldId="2147483664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3733172339" sldId="2147483665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3210312558" sldId="2147483666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3146388984" sldId="2147483667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3171841454" sldId="2147483668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1718958274" sldId="2147483669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2202905451" sldId="2147483670"/>
          </pc:sldLayoutMkLst>
        </pc:sldLayoutChg>
        <pc:sldLayoutChg chg="del">
          <pc:chgData name="Alexander Richwood" userId="6a746949-975a-4404-914f-fa4a61014c27" providerId="ADAL" clId="{0575DE32-9B8F-48B0-B743-61594EAA796E}" dt="2021-04-23T07:26:33.881" v="3" actId="47"/>
          <pc:sldLayoutMkLst>
            <pc:docMk/>
            <pc:sldMasterMk cId="2460954070" sldId="2147483660"/>
            <pc:sldLayoutMk cId="3479445657" sldId="2147483671"/>
          </pc:sldLayoutMkLst>
        </pc:sldLayoutChg>
      </pc:sldMaster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4-26T11:05:45.580" idx="1">
    <p:pos x="350" y="1691"/>
    <p:text>Do we have confirmed timing on RA workshops for UK?  It's not in my notes</p:text>
    <p:extLst>
      <p:ext uri="{C676402C-5697-4E1C-873F-D02D1690AC5C}">
        <p15:threadingInfo xmlns:p15="http://schemas.microsoft.com/office/powerpoint/2012/main" timeZoneBias="-12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820852-7046-4F1C-9005-7084EE728C14}" type="datetimeFigureOut">
              <a:rPr lang="en-GB" smtClean="0"/>
              <a:t>26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E55D35-9F63-4370-ADEA-C1EFDAB6396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431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dirty="0">
                <a:solidFill>
                  <a:srgbClr val="202124"/>
                </a:solidFill>
                <a:effectLst/>
                <a:latin typeface="Roboto"/>
              </a:rPr>
              <a:t>Would be super helpful to see the current status, timeline and actions for each. </a:t>
            </a:r>
          </a:p>
          <a:p>
            <a:r>
              <a:rPr lang="en-GB" b="0" i="0" dirty="0">
                <a:solidFill>
                  <a:srgbClr val="202124"/>
                </a:solidFill>
                <a:effectLst/>
                <a:latin typeface="Roboto"/>
              </a:rPr>
              <a:t>Just to keep us on track, as it's starting to get complicated with the markets in diff places. Just something like 1 swim-lane per market, showing what we need to do, and with stars for the workshops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55D35-9F63-4370-ADEA-C1EFDAB6396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309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969319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50663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0354733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1506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388782025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Standard Title &amp;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3119B7-D23E-C442-8641-B3E1BAB3173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76303" y="1593462"/>
            <a:ext cx="11639394" cy="4073412"/>
          </a:xfrm>
        </p:spPr>
        <p:txBody>
          <a:bodyPr/>
          <a:lstStyle>
            <a:lvl1pPr marL="342900" indent="-342900" algn="l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  <a:lvl2pPr marL="746125" indent="-228600">
              <a:lnSpc>
                <a:spcPct val="80000"/>
              </a:lnSpc>
              <a:spcBef>
                <a:spcPts val="600"/>
              </a:spcBef>
              <a:defRPr sz="2200"/>
            </a:lvl2pPr>
            <a:lvl3pPr>
              <a:lnSpc>
                <a:spcPct val="80000"/>
              </a:lnSpc>
              <a:spcBef>
                <a:spcPts val="600"/>
              </a:spcBef>
              <a:defRPr sz="1800"/>
            </a:lvl3pPr>
            <a:lvl4pPr>
              <a:lnSpc>
                <a:spcPct val="80000"/>
              </a:lnSpc>
              <a:spcBef>
                <a:spcPts val="600"/>
              </a:spcBef>
              <a:defRPr/>
            </a:lvl4pPr>
            <a:lvl5pPr>
              <a:lnSpc>
                <a:spcPct val="8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79760357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76CE-4997-4388-98CC-76C31CDB8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D5A07E-73E7-48C3-8F3E-5C881E4F2A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26437B-1180-42FB-88F6-5B92C1CD0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FE402-65DA-40F4-9B7D-05EA261513D0}" type="datetimeFigureOut">
              <a:rPr lang="en-GB" smtClean="0"/>
              <a:t>23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26464-82E3-4EBD-A33B-C3D35D819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90A36C-B07D-4F24-B78A-82FEC6C8E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5F72-0928-452B-AD35-B5FACDF183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956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704E50-790F-004D-A3FC-F1A2CCAC1708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65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3852402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4161004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20767244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5650500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612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964017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226995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508227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7054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10"/>
            <a:ext cx="10810627" cy="645882"/>
          </a:xfrm>
        </p:spPr>
        <p:txBody>
          <a:bodyPr/>
          <a:lstStyle/>
          <a:p>
            <a:r>
              <a:rPr lang="en-GB" sz="3200" dirty="0"/>
              <a:t>Project Status by Country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8A78B97-560D-4E5B-B2CF-CD166C5F68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701320"/>
              </p:ext>
            </p:extLst>
          </p:nvPr>
        </p:nvGraphicFramePr>
        <p:xfrm>
          <a:off x="833288" y="905692"/>
          <a:ext cx="10762967" cy="450640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621169">
                  <a:extLst>
                    <a:ext uri="{9D8B030D-6E8A-4147-A177-3AD203B41FA5}">
                      <a16:colId xmlns:a16="http://schemas.microsoft.com/office/drawing/2014/main" val="535372281"/>
                    </a:ext>
                  </a:extLst>
                </a:gridCol>
                <a:gridCol w="8302680">
                  <a:extLst>
                    <a:ext uri="{9D8B030D-6E8A-4147-A177-3AD203B41FA5}">
                      <a16:colId xmlns:a16="http://schemas.microsoft.com/office/drawing/2014/main" val="2566518012"/>
                    </a:ext>
                  </a:extLst>
                </a:gridCol>
                <a:gridCol w="839118">
                  <a:extLst>
                    <a:ext uri="{9D8B030D-6E8A-4147-A177-3AD203B41FA5}">
                      <a16:colId xmlns:a16="http://schemas.microsoft.com/office/drawing/2014/main" val="3867609214"/>
                    </a:ext>
                  </a:extLst>
                </a:gridCol>
              </a:tblGrid>
              <a:tr h="360393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indent="0" algn="ctr">
                        <a:buNone/>
                      </a:pPr>
                      <a:r>
                        <a:rPr kumimoji="0" lang="en-US" sz="1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+mj-lt"/>
                          <a:ea typeface=""/>
                          <a:cs typeface=""/>
                        </a:rPr>
                        <a:t>Status</a:t>
                      </a:r>
                    </a:p>
                  </a:txBody>
                  <a:tcPr marL="12192" marR="12192" marT="9144" marB="9144" anchor="ctr" horzOverflow="overflow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kumimoji="0" lang="en-US" sz="750" b="1" u="none" strike="noStrike" kern="1200" cap="none" normalizeH="0" baseline="0">
                        <a:ln>
                          <a:noFill/>
                        </a:ln>
                        <a:solidFill>
                          <a:schemeClr val="lt1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9144" marR="9144" marT="6858" marB="6858" anchor="ctr" horzOverflow="overflow"/>
                </a:tc>
                <a:tc hMerge="1"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kumimoji="0" lang="en-US" sz="750" b="1" u="none" strike="noStrike" kern="1200" cap="none" normalizeH="0" baseline="0">
                        <a:ln>
                          <a:noFill/>
                        </a:ln>
                        <a:solidFill>
                          <a:schemeClr val="lt1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9144" marR="9144" marT="6858" marB="6858" anchor="ctr" horzOverflow="overflow"/>
                </a:tc>
                <a:extLst>
                  <a:ext uri="{0D108BD9-81ED-4DB2-BD59-A6C34878D82A}">
                    <a16:rowId xmlns:a16="http://schemas.microsoft.com/office/drawing/2014/main" val="4205457368"/>
                  </a:ext>
                </a:extLst>
              </a:tr>
              <a:tr h="360393">
                <a:tc>
                  <a:txBody>
                    <a:bodyPr/>
                    <a:lstStyle/>
                    <a:p>
                      <a:pPr marL="55563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ctivity Area</a:t>
                      </a:r>
                    </a:p>
                  </a:txBody>
                  <a:tcPr marL="12192" marR="12192" marT="9144" marB="9144" anchor="ctr" horzOverflow="overflow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PDATE / ACTIONS REQUIRED</a:t>
                      </a:r>
                    </a:p>
                  </a:txBody>
                  <a:tcPr marL="12192" marR="12192" marT="9144" marB="9144" anchor="ctr" horzOverflow="overflow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ATUS</a:t>
                      </a:r>
                    </a:p>
                  </a:txBody>
                  <a:tcPr marL="12192" marR="12192" marT="9144" marB="9144" anchor="ctr" horzOverflow="overflow"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3018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55245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France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1</a:t>
                      </a:r>
                      <a:r>
                        <a:rPr kumimoji="0" lang="en-US" sz="9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st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 Workshop completed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Veeva has provided to the French team (1) Workshop 1 deck, (2) Outputs of the Group Exercises, and (3) Draft FR-specific adoption ladder template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French Team to (1) provide updates/feedback on the Draft adoption ladder template, and (2) confirm the HCP Journey Structure by Apr 30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Veeva to prepare Workshop 2 Deck &amp; begin draft </a:t>
                      </a:r>
                      <a:r>
                        <a:rPr kumimoji="0" lang="en-US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Custellence</a:t>
                      </a: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 journeys following receipt of French updates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55563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"/>
                          <a:cs typeface="Calibri" panose="020F0502020204030204" pitchFamily="34" charset="0"/>
                        </a:rPr>
                        <a:t>30%</a:t>
                      </a:r>
                      <a:endParaRPr lang="en-GB" sz="1000" b="0" i="0" kern="1200" baseline="0" dirty="0">
                        <a:solidFill>
                          <a:schemeClr val="tx1"/>
                        </a:solidFill>
                        <a:latin typeface="+mj-lt"/>
                        <a:ea typeface=""/>
                        <a:cs typeface="Calibri" panose="020F0502020204030204" pitchFamily="34" charset="0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22124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55563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Germany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MOC Meeting completed, German Team has agreed to both RA &amp; IBD journeys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Core Team to schedule RA Workshops (starting in May), and IBD Workshops (starting in mid-June)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Veeva to prepare Workshop Deck 1 for German session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55245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"/>
                          <a:cs typeface="Calibri"/>
                        </a:rPr>
                        <a:t>5%</a:t>
                      </a:r>
                      <a:endParaRPr lang="en-GB" sz="1000" b="0" i="0" kern="1200" baseline="0" dirty="0">
                        <a:solidFill>
                          <a:schemeClr val="tx1"/>
                        </a:solidFill>
                        <a:latin typeface="+mj-lt"/>
                        <a:ea typeface=""/>
                        <a:cs typeface="Calibri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B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03294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55563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UK</a:t>
                      </a:r>
                      <a:endParaRPr kumimoji="0" lang="en-GB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MOC Meeting completed, British team confirms value of OC Journeys (RA &amp; IBD) 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Veeva &amp; Core Team to segment barriers and provide updated adoption ladder to the British Team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Core Team to schedule UK Workshop meetings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Area of Note – UK team has requested consideration into Adoption Ladder Stage 4 further detail &amp; solution expansion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55245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"/>
                          <a:cs typeface="Calibri"/>
                        </a:rPr>
                        <a:t>5%</a:t>
                      </a:r>
                      <a:endParaRPr lang="en-GB" sz="1000" b="0" i="0" kern="1200" baseline="0" dirty="0">
                        <a:solidFill>
                          <a:schemeClr val="tx1"/>
                        </a:solidFill>
                        <a:latin typeface="+mj-lt"/>
                        <a:ea typeface=""/>
                        <a:cs typeface="Calibri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B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2908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55563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Spain</a:t>
                      </a:r>
                      <a:endParaRPr kumimoji="0" lang="en-GB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MOC Meeting completed, Spanish team confirms value of OC Journeys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Spanish Team noted Workshop 1 should occur late-May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Veeva to send above-market adoption ladder templates for reference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"/>
                          <a:cs typeface="Calibri" panose="020F0502020204030204" pitchFamily="34" charset="0"/>
                        </a:rPr>
                        <a:t>Veeva to schedule pre-meeting to align on Spanish work performed thus far (segmentation &amp; channel preference work)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55245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"/>
                          <a:cs typeface="Calibri"/>
                        </a:rPr>
                        <a:t>5%</a:t>
                      </a:r>
                      <a:endParaRPr lang="en-GB" sz="1000" b="0" i="0" kern="1200" baseline="0" dirty="0">
                        <a:solidFill>
                          <a:schemeClr val="tx1"/>
                        </a:solidFill>
                        <a:latin typeface="+mj-lt"/>
                        <a:ea typeface=""/>
                        <a:cs typeface="Calibri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B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920447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55563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Italy</a:t>
                      </a:r>
                      <a:endParaRPr kumimoji="0" lang="en-GB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MOC Meeting completed, Italian team confirms value of OC Journeys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Italian team noted Workshop 1 should occur in May, but exact timing to be communicated by Italian team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Veeva to send above-market adoption ladder templates for reference</a:t>
                      </a:r>
                    </a:p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Veeva to find Italian-speaking colleague to participate in meetings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55245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"/>
                          <a:cs typeface="Calibri"/>
                        </a:rPr>
                        <a:t>5%</a:t>
                      </a:r>
                      <a:endParaRPr lang="en-GB" sz="1000" b="0" i="0" kern="1200" baseline="0" dirty="0">
                        <a:solidFill>
                          <a:schemeClr val="tx1"/>
                        </a:solidFill>
                        <a:latin typeface="+mj-lt"/>
                        <a:ea typeface=""/>
                        <a:cs typeface="Calibri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B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11994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55563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Small Markets</a:t>
                      </a:r>
                    </a:p>
                    <a:p>
                      <a:pPr marL="55563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(NL &amp; </a:t>
                      </a:r>
                      <a:r>
                        <a:rPr kumimoji="0" lang="en-US" sz="9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Bellux</a:t>
                      </a: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itchFamily="34" charset="0"/>
                        </a:rPr>
                        <a:t>)</a:t>
                      </a:r>
                      <a:endParaRPr kumimoji="0" lang="en-GB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227013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"/>
                          <a:cs typeface="Calibri" panose="020F0502020204030204" pitchFamily="34" charset="0"/>
                        </a:rPr>
                        <a:t>MOC Meetings to be scheduled</a:t>
                      </a: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F7"/>
                    </a:solidFill>
                  </a:tcPr>
                </a:tc>
                <a:tc>
                  <a:txBody>
                    <a:bodyPr/>
                    <a:lstStyle/>
                    <a:p>
                      <a:pPr marL="55245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"/>
                          <a:cs typeface="Calibri"/>
                        </a:rPr>
                        <a:t>0%</a:t>
                      </a:r>
                      <a:endParaRPr lang="en-GB" sz="1000" b="0" i="0" kern="1200" baseline="0" dirty="0">
                        <a:solidFill>
                          <a:schemeClr val="tx1"/>
                        </a:solidFill>
                        <a:latin typeface="+mj-lt"/>
                        <a:ea typeface=""/>
                        <a:cs typeface="Calibri"/>
                      </a:endParaRPr>
                    </a:p>
                  </a:txBody>
                  <a:tcPr marL="12192" marR="48000" marT="9144" marB="914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B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234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46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86F67345-CCDD-46CC-9E32-D36CC6EEA4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2430025"/>
              </p:ext>
            </p:extLst>
          </p:nvPr>
        </p:nvGraphicFramePr>
        <p:xfrm>
          <a:off x="156382" y="1356557"/>
          <a:ext cx="11383624" cy="292608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813116">
                  <a:extLst>
                    <a:ext uri="{9D8B030D-6E8A-4147-A177-3AD203B41FA5}">
                      <a16:colId xmlns:a16="http://schemas.microsoft.com/office/drawing/2014/main" val="2887007981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4006519837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891256040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481051076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2130251361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3868200511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3010402749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3788832395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230831267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1860989725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685358939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1906764021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2205092726"/>
                    </a:ext>
                  </a:extLst>
                </a:gridCol>
                <a:gridCol w="813116">
                  <a:extLst>
                    <a:ext uri="{9D8B030D-6E8A-4147-A177-3AD203B41FA5}">
                      <a16:colId xmlns:a16="http://schemas.microsoft.com/office/drawing/2014/main" val="2997574665"/>
                    </a:ext>
                  </a:extLst>
                </a:gridCol>
              </a:tblGrid>
              <a:tr h="238812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50">
                          <a:solidFill>
                            <a:schemeClr val="bg1"/>
                          </a:solidFill>
                        </a:rPr>
                        <a:t>April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June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597917"/>
                  </a:ext>
                </a:extLst>
              </a:tr>
              <a:tr h="208960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5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Week 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2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9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6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6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rd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7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0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8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7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9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4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0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31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st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1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7th (12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14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3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1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st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4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28</a:t>
                      </a:r>
                      <a:r>
                        <a:rPr lang="en-US" sz="800" baseline="30000" dirty="0">
                          <a:solidFill>
                            <a:schemeClr val="bg1"/>
                          </a:solidFill>
                        </a:rPr>
                        <a:t>th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 (15)</a:t>
                      </a: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996021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rance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95708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ermany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576452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K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802814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pain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25197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Italy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152046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mall Marke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81901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D3E19A-A59D-4391-BE66-5FC951D8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79" y="259810"/>
            <a:ext cx="10810627" cy="645882"/>
          </a:xfrm>
        </p:spPr>
        <p:txBody>
          <a:bodyPr/>
          <a:lstStyle/>
          <a:p>
            <a:r>
              <a:rPr lang="en-GB" sz="3200" dirty="0"/>
              <a:t>Project Timeline by country</a:t>
            </a:r>
          </a:p>
        </p:txBody>
      </p:sp>
      <p:sp>
        <p:nvSpPr>
          <p:cNvPr id="36" name="Star: 5 Points 35">
            <a:extLst>
              <a:ext uri="{FF2B5EF4-FFF2-40B4-BE49-F238E27FC236}">
                <a16:creationId xmlns:a16="http://schemas.microsoft.com/office/drawing/2014/main" id="{7A1EE0E6-D47E-4033-BE00-750B3DD43879}"/>
              </a:ext>
            </a:extLst>
          </p:cNvPr>
          <p:cNvSpPr/>
          <p:nvPr/>
        </p:nvSpPr>
        <p:spPr bwMode="auto">
          <a:xfrm rot="682741">
            <a:off x="5314262" y="1824616"/>
            <a:ext cx="182880" cy="182880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1" name="Star: 5 Points 30">
            <a:extLst>
              <a:ext uri="{FF2B5EF4-FFF2-40B4-BE49-F238E27FC236}">
                <a16:creationId xmlns:a16="http://schemas.microsoft.com/office/drawing/2014/main" id="{26D7FFEE-E09F-4C21-A377-DAE50C943D20}"/>
              </a:ext>
            </a:extLst>
          </p:cNvPr>
          <p:cNvSpPr/>
          <p:nvPr/>
        </p:nvSpPr>
        <p:spPr bwMode="auto">
          <a:xfrm rot="682741">
            <a:off x="2948359" y="1824616"/>
            <a:ext cx="182880" cy="182880"/>
          </a:xfrm>
          <a:prstGeom prst="star5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6879D0-7194-4215-829B-C6CE9FCE5F23}"/>
              </a:ext>
            </a:extLst>
          </p:cNvPr>
          <p:cNvSpPr txBox="1"/>
          <p:nvPr/>
        </p:nvSpPr>
        <p:spPr>
          <a:xfrm>
            <a:off x="4903315" y="1949357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May 12</a:t>
            </a:r>
          </a:p>
          <a:p>
            <a:pPr algn="ctr"/>
            <a:r>
              <a:rPr lang="en-US" sz="700" b="1" dirty="0"/>
              <a:t>RA Workshop 2</a:t>
            </a:r>
            <a:endParaRPr lang="en-GB" sz="700" b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EF43898-87A8-4583-B0B4-D69DB5853AD9}"/>
              </a:ext>
            </a:extLst>
          </p:cNvPr>
          <p:cNvSpPr txBox="1"/>
          <p:nvPr/>
        </p:nvSpPr>
        <p:spPr>
          <a:xfrm>
            <a:off x="5931263" y="1943972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May 21</a:t>
            </a:r>
          </a:p>
          <a:p>
            <a:pPr algn="ctr"/>
            <a:r>
              <a:rPr lang="en-US" sz="700" b="1" dirty="0"/>
              <a:t>RA Workshop 3</a:t>
            </a:r>
            <a:endParaRPr lang="en-GB" sz="700" b="1" dirty="0"/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FFB13261-6811-4F07-9DD4-357702AA5B39}"/>
              </a:ext>
            </a:extLst>
          </p:cNvPr>
          <p:cNvSpPr/>
          <p:nvPr/>
        </p:nvSpPr>
        <p:spPr bwMode="auto">
          <a:xfrm rot="682741">
            <a:off x="6323159" y="1824616"/>
            <a:ext cx="182880" cy="182880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4F045C4-6A58-4BB4-8DB1-70DA076C8489}"/>
              </a:ext>
            </a:extLst>
          </p:cNvPr>
          <p:cNvSpPr txBox="1"/>
          <p:nvPr/>
        </p:nvSpPr>
        <p:spPr>
          <a:xfrm>
            <a:off x="2550182" y="1943972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Apr 20</a:t>
            </a:r>
          </a:p>
          <a:p>
            <a:pPr algn="ctr"/>
            <a:r>
              <a:rPr lang="en-US" sz="700" b="1" dirty="0"/>
              <a:t>RA Workshop 1</a:t>
            </a:r>
            <a:endParaRPr lang="en-GB" sz="7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9942E7-5C16-4CE5-8978-7A1CE60D11FB}"/>
              </a:ext>
            </a:extLst>
          </p:cNvPr>
          <p:cNvSpPr/>
          <p:nvPr/>
        </p:nvSpPr>
        <p:spPr bwMode="auto">
          <a:xfrm>
            <a:off x="5376501" y="4518280"/>
            <a:ext cx="4959518" cy="2518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0A9A7E-39F9-4955-8CDE-0095EC0B11C1}"/>
              </a:ext>
            </a:extLst>
          </p:cNvPr>
          <p:cNvSpPr txBox="1"/>
          <p:nvPr/>
        </p:nvSpPr>
        <p:spPr>
          <a:xfrm>
            <a:off x="5583828" y="4549851"/>
            <a:ext cx="15743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leted Meeting</a:t>
            </a:r>
            <a:endParaRPr kumimoji="0" lang="en-GB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Star: 5 Points 40">
            <a:extLst>
              <a:ext uri="{FF2B5EF4-FFF2-40B4-BE49-F238E27FC236}">
                <a16:creationId xmlns:a16="http://schemas.microsoft.com/office/drawing/2014/main" id="{28F3A7A4-8EE1-49F5-BF08-9A04E80F4D4F}"/>
              </a:ext>
            </a:extLst>
          </p:cNvPr>
          <p:cNvSpPr/>
          <p:nvPr/>
        </p:nvSpPr>
        <p:spPr bwMode="auto">
          <a:xfrm rot="682741">
            <a:off x="5442788" y="4561429"/>
            <a:ext cx="182880" cy="167343"/>
          </a:xfrm>
          <a:prstGeom prst="star5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D91DEE9-20CF-4947-AD1F-DA5C6C83A73E}"/>
              </a:ext>
            </a:extLst>
          </p:cNvPr>
          <p:cNvSpPr txBox="1"/>
          <p:nvPr/>
        </p:nvSpPr>
        <p:spPr>
          <a:xfrm>
            <a:off x="6942563" y="4553499"/>
            <a:ext cx="2118440" cy="197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cheduled Meeting</a:t>
            </a:r>
            <a:endParaRPr kumimoji="0" lang="en-GB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1" name="Star: 5 Points 50">
            <a:extLst>
              <a:ext uri="{FF2B5EF4-FFF2-40B4-BE49-F238E27FC236}">
                <a16:creationId xmlns:a16="http://schemas.microsoft.com/office/drawing/2014/main" id="{E73B80B9-2464-4CE1-8931-CF87FBF5BD2C}"/>
              </a:ext>
            </a:extLst>
          </p:cNvPr>
          <p:cNvSpPr/>
          <p:nvPr/>
        </p:nvSpPr>
        <p:spPr bwMode="auto">
          <a:xfrm rot="682741">
            <a:off x="6861761" y="4561429"/>
            <a:ext cx="182880" cy="167343"/>
          </a:xfrm>
          <a:prstGeom prst="star5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D93C26C-300D-4148-B409-3B99F01CF3FC}"/>
              </a:ext>
            </a:extLst>
          </p:cNvPr>
          <p:cNvSpPr txBox="1"/>
          <p:nvPr/>
        </p:nvSpPr>
        <p:spPr>
          <a:xfrm>
            <a:off x="8366684" y="4545033"/>
            <a:ext cx="2118440" cy="197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i="1" dirty="0">
                <a:solidFill>
                  <a:srgbClr val="000000"/>
                </a:solidFill>
                <a:latin typeface="Tahoma"/>
              </a:rPr>
              <a:t>Anticipated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eting – Not yet in diaries</a:t>
            </a:r>
            <a:endParaRPr kumimoji="0" lang="en-GB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3" name="Star: 5 Points 52">
            <a:extLst>
              <a:ext uri="{FF2B5EF4-FFF2-40B4-BE49-F238E27FC236}">
                <a16:creationId xmlns:a16="http://schemas.microsoft.com/office/drawing/2014/main" id="{B11F7B8E-C08D-4776-AAA7-87A1793FCA21}"/>
              </a:ext>
            </a:extLst>
          </p:cNvPr>
          <p:cNvSpPr/>
          <p:nvPr/>
        </p:nvSpPr>
        <p:spPr bwMode="auto">
          <a:xfrm rot="682741">
            <a:off x="8286536" y="4561429"/>
            <a:ext cx="182880" cy="167343"/>
          </a:xfrm>
          <a:prstGeom prst="star5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A8DC9C3B-CDAE-4B39-9A2B-C05ED9F7BAC1}"/>
              </a:ext>
            </a:extLst>
          </p:cNvPr>
          <p:cNvSpPr/>
          <p:nvPr/>
        </p:nvSpPr>
        <p:spPr bwMode="auto">
          <a:xfrm rot="682741">
            <a:off x="1920411" y="2242870"/>
            <a:ext cx="182880" cy="182880"/>
          </a:xfrm>
          <a:prstGeom prst="star5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17AC55-252D-4DF5-A7B8-93ECB2ED06C1}"/>
              </a:ext>
            </a:extLst>
          </p:cNvPr>
          <p:cNvSpPr txBox="1"/>
          <p:nvPr/>
        </p:nvSpPr>
        <p:spPr>
          <a:xfrm>
            <a:off x="1522234" y="2362226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Apr 13</a:t>
            </a:r>
          </a:p>
          <a:p>
            <a:pPr algn="ctr"/>
            <a:r>
              <a:rPr lang="en-US" sz="700" b="1" dirty="0"/>
              <a:t>MOC Meeting</a:t>
            </a:r>
            <a:endParaRPr lang="en-GB" sz="700" b="1" dirty="0"/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EA666A11-30A0-479C-8ADC-8EE1440E8CDD}"/>
              </a:ext>
            </a:extLst>
          </p:cNvPr>
          <p:cNvSpPr/>
          <p:nvPr/>
        </p:nvSpPr>
        <p:spPr bwMode="auto">
          <a:xfrm rot="682741">
            <a:off x="3069954" y="2646064"/>
            <a:ext cx="182880" cy="182880"/>
          </a:xfrm>
          <a:prstGeom prst="star5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52FECF-71E3-4420-AF6B-7A203EE4001F}"/>
              </a:ext>
            </a:extLst>
          </p:cNvPr>
          <p:cNvSpPr txBox="1"/>
          <p:nvPr/>
        </p:nvSpPr>
        <p:spPr>
          <a:xfrm>
            <a:off x="2671777" y="2765420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Apr 21</a:t>
            </a:r>
          </a:p>
          <a:p>
            <a:pPr algn="ctr"/>
            <a:r>
              <a:rPr lang="en-US" sz="700" b="1" dirty="0"/>
              <a:t>MOC Meeting</a:t>
            </a:r>
            <a:endParaRPr lang="en-GB" sz="700" b="1" dirty="0"/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B522B0BA-A7F9-4173-BA19-D6D6B95FAD90}"/>
              </a:ext>
            </a:extLst>
          </p:cNvPr>
          <p:cNvSpPr/>
          <p:nvPr/>
        </p:nvSpPr>
        <p:spPr bwMode="auto">
          <a:xfrm rot="682741">
            <a:off x="3191549" y="3040371"/>
            <a:ext cx="182880" cy="182880"/>
          </a:xfrm>
          <a:prstGeom prst="star5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5DCEDB-BD8A-4AA9-B274-A890FA7EACE2}"/>
              </a:ext>
            </a:extLst>
          </p:cNvPr>
          <p:cNvSpPr txBox="1"/>
          <p:nvPr/>
        </p:nvSpPr>
        <p:spPr>
          <a:xfrm>
            <a:off x="2793372" y="3159727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Apr 22</a:t>
            </a:r>
          </a:p>
          <a:p>
            <a:pPr algn="ctr"/>
            <a:r>
              <a:rPr lang="en-US" sz="700" b="1" dirty="0"/>
              <a:t>MOC Meeting</a:t>
            </a:r>
            <a:endParaRPr lang="en-GB" sz="700" b="1" dirty="0"/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51BFBE32-F28A-4195-9FEF-32432E1259AA}"/>
              </a:ext>
            </a:extLst>
          </p:cNvPr>
          <p:cNvSpPr/>
          <p:nvPr/>
        </p:nvSpPr>
        <p:spPr bwMode="auto">
          <a:xfrm rot="682741">
            <a:off x="3191549" y="3461351"/>
            <a:ext cx="182880" cy="182880"/>
          </a:xfrm>
          <a:prstGeom prst="star5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4AF3A23-51EB-42AE-84B5-63CE1E785535}"/>
              </a:ext>
            </a:extLst>
          </p:cNvPr>
          <p:cNvSpPr txBox="1"/>
          <p:nvPr/>
        </p:nvSpPr>
        <p:spPr>
          <a:xfrm>
            <a:off x="2793372" y="3580707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dirty="0"/>
              <a:t>Apr 22</a:t>
            </a:r>
          </a:p>
          <a:p>
            <a:pPr algn="ctr"/>
            <a:r>
              <a:rPr lang="en-US" sz="700" b="1" dirty="0"/>
              <a:t>MOC Meeting</a:t>
            </a:r>
            <a:endParaRPr lang="en-GB" sz="700" b="1" dirty="0"/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E36D86F5-DBF5-47A1-859A-0739EE11BB05}"/>
              </a:ext>
            </a:extLst>
          </p:cNvPr>
          <p:cNvSpPr/>
          <p:nvPr/>
        </p:nvSpPr>
        <p:spPr bwMode="auto">
          <a:xfrm rot="682741">
            <a:off x="5772808" y="3525636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41C81A-1007-45AE-B7FD-484D4A41F254}"/>
              </a:ext>
            </a:extLst>
          </p:cNvPr>
          <p:cNvSpPr txBox="1"/>
          <p:nvPr/>
        </p:nvSpPr>
        <p:spPr>
          <a:xfrm>
            <a:off x="5361861" y="3688429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1</a:t>
            </a:r>
            <a:endParaRPr lang="en-GB" sz="700" b="1" dirty="0"/>
          </a:p>
        </p:txBody>
      </p:sp>
      <p:sp>
        <p:nvSpPr>
          <p:cNvPr id="33" name="Star: 5 Points 32">
            <a:extLst>
              <a:ext uri="{FF2B5EF4-FFF2-40B4-BE49-F238E27FC236}">
                <a16:creationId xmlns:a16="http://schemas.microsoft.com/office/drawing/2014/main" id="{E816CFE5-8B31-4EF9-9ADD-FE7F9CDB2D0B}"/>
              </a:ext>
            </a:extLst>
          </p:cNvPr>
          <p:cNvSpPr/>
          <p:nvPr/>
        </p:nvSpPr>
        <p:spPr bwMode="auto">
          <a:xfrm rot="682741">
            <a:off x="6724220" y="3520251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CA85FE6-BEB7-40E8-94FF-8FC9B24057FD}"/>
              </a:ext>
            </a:extLst>
          </p:cNvPr>
          <p:cNvSpPr txBox="1"/>
          <p:nvPr/>
        </p:nvSpPr>
        <p:spPr>
          <a:xfrm>
            <a:off x="6313273" y="3683044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2</a:t>
            </a:r>
            <a:endParaRPr lang="en-GB" sz="700" b="1" dirty="0"/>
          </a:p>
        </p:txBody>
      </p:sp>
      <p:sp>
        <p:nvSpPr>
          <p:cNvPr id="35" name="Star: 5 Points 34">
            <a:extLst>
              <a:ext uri="{FF2B5EF4-FFF2-40B4-BE49-F238E27FC236}">
                <a16:creationId xmlns:a16="http://schemas.microsoft.com/office/drawing/2014/main" id="{5874CAB7-ACFF-42C3-9CE1-E0DDD86AF449}"/>
              </a:ext>
            </a:extLst>
          </p:cNvPr>
          <p:cNvSpPr/>
          <p:nvPr/>
        </p:nvSpPr>
        <p:spPr bwMode="auto">
          <a:xfrm rot="682741">
            <a:off x="7569127" y="3525636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05A13F5-5BC6-44E8-9475-858AC595CBD9}"/>
              </a:ext>
            </a:extLst>
          </p:cNvPr>
          <p:cNvSpPr txBox="1"/>
          <p:nvPr/>
        </p:nvSpPr>
        <p:spPr>
          <a:xfrm>
            <a:off x="7158180" y="3688429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3</a:t>
            </a:r>
            <a:endParaRPr lang="en-GB" sz="700" b="1" dirty="0"/>
          </a:p>
        </p:txBody>
      </p:sp>
      <p:sp>
        <p:nvSpPr>
          <p:cNvPr id="42" name="Star: 5 Points 41">
            <a:extLst>
              <a:ext uri="{FF2B5EF4-FFF2-40B4-BE49-F238E27FC236}">
                <a16:creationId xmlns:a16="http://schemas.microsoft.com/office/drawing/2014/main" id="{B6B1B18E-1B76-4151-A9B3-ABFB788B75DE}"/>
              </a:ext>
            </a:extLst>
          </p:cNvPr>
          <p:cNvSpPr/>
          <p:nvPr/>
        </p:nvSpPr>
        <p:spPr bwMode="auto">
          <a:xfrm rot="682741">
            <a:off x="7280928" y="3076094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594E4A0-EAB3-4408-A6FB-177BF402BE21}"/>
              </a:ext>
            </a:extLst>
          </p:cNvPr>
          <p:cNvSpPr txBox="1"/>
          <p:nvPr/>
        </p:nvSpPr>
        <p:spPr>
          <a:xfrm>
            <a:off x="6869981" y="3238887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1</a:t>
            </a:r>
            <a:endParaRPr lang="en-GB" sz="700" b="1" dirty="0"/>
          </a:p>
        </p:txBody>
      </p:sp>
      <p:sp>
        <p:nvSpPr>
          <p:cNvPr id="44" name="Star: 5 Points 43">
            <a:extLst>
              <a:ext uri="{FF2B5EF4-FFF2-40B4-BE49-F238E27FC236}">
                <a16:creationId xmlns:a16="http://schemas.microsoft.com/office/drawing/2014/main" id="{90963949-24C8-4896-9351-9F1FE135ACC3}"/>
              </a:ext>
            </a:extLst>
          </p:cNvPr>
          <p:cNvSpPr/>
          <p:nvPr/>
        </p:nvSpPr>
        <p:spPr bwMode="auto">
          <a:xfrm rot="682741">
            <a:off x="8232340" y="3070709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601651-5B27-4426-921C-1AA1F1C8A95B}"/>
              </a:ext>
            </a:extLst>
          </p:cNvPr>
          <p:cNvSpPr txBox="1"/>
          <p:nvPr/>
        </p:nvSpPr>
        <p:spPr>
          <a:xfrm>
            <a:off x="7821393" y="3233502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2</a:t>
            </a:r>
            <a:endParaRPr lang="en-GB" sz="700" b="1" dirty="0"/>
          </a:p>
        </p:txBody>
      </p:sp>
      <p:sp>
        <p:nvSpPr>
          <p:cNvPr id="46" name="Star: 5 Points 45">
            <a:extLst>
              <a:ext uri="{FF2B5EF4-FFF2-40B4-BE49-F238E27FC236}">
                <a16:creationId xmlns:a16="http://schemas.microsoft.com/office/drawing/2014/main" id="{D83583CA-D79B-451B-800C-E73680E72F88}"/>
              </a:ext>
            </a:extLst>
          </p:cNvPr>
          <p:cNvSpPr/>
          <p:nvPr/>
        </p:nvSpPr>
        <p:spPr bwMode="auto">
          <a:xfrm rot="682741">
            <a:off x="9077247" y="3076094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C909AA4-8ACC-4677-8C20-E8C662112837}"/>
              </a:ext>
            </a:extLst>
          </p:cNvPr>
          <p:cNvSpPr txBox="1"/>
          <p:nvPr/>
        </p:nvSpPr>
        <p:spPr>
          <a:xfrm>
            <a:off x="8666300" y="3238887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3</a:t>
            </a:r>
            <a:endParaRPr lang="en-GB" sz="700" b="1" dirty="0"/>
          </a:p>
        </p:txBody>
      </p:sp>
      <p:sp>
        <p:nvSpPr>
          <p:cNvPr id="48" name="Star: 5 Points 47">
            <a:extLst>
              <a:ext uri="{FF2B5EF4-FFF2-40B4-BE49-F238E27FC236}">
                <a16:creationId xmlns:a16="http://schemas.microsoft.com/office/drawing/2014/main" id="{7219837D-E94D-4E8F-872D-1C7B2B1AFF9F}"/>
              </a:ext>
            </a:extLst>
          </p:cNvPr>
          <p:cNvSpPr/>
          <p:nvPr/>
        </p:nvSpPr>
        <p:spPr bwMode="auto">
          <a:xfrm rot="682741">
            <a:off x="5882833" y="2289778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F8B2C0E-45EB-438E-8F85-35EBA6D357C0}"/>
              </a:ext>
            </a:extLst>
          </p:cNvPr>
          <p:cNvSpPr txBox="1"/>
          <p:nvPr/>
        </p:nvSpPr>
        <p:spPr>
          <a:xfrm>
            <a:off x="5471886" y="2452571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1</a:t>
            </a:r>
            <a:endParaRPr lang="en-GB" sz="700" b="1" dirty="0"/>
          </a:p>
        </p:txBody>
      </p:sp>
      <p:sp>
        <p:nvSpPr>
          <p:cNvPr id="54" name="Star: 5 Points 53">
            <a:extLst>
              <a:ext uri="{FF2B5EF4-FFF2-40B4-BE49-F238E27FC236}">
                <a16:creationId xmlns:a16="http://schemas.microsoft.com/office/drawing/2014/main" id="{FA0A3A82-DDA9-401A-BED4-91EED5E5A607}"/>
              </a:ext>
            </a:extLst>
          </p:cNvPr>
          <p:cNvSpPr/>
          <p:nvPr/>
        </p:nvSpPr>
        <p:spPr bwMode="auto">
          <a:xfrm rot="682741">
            <a:off x="6834245" y="2284393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EB6BEB9-46B8-49A5-A1DB-3D76ABDE1346}"/>
              </a:ext>
            </a:extLst>
          </p:cNvPr>
          <p:cNvSpPr txBox="1"/>
          <p:nvPr/>
        </p:nvSpPr>
        <p:spPr>
          <a:xfrm>
            <a:off x="6423298" y="2447186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2</a:t>
            </a:r>
            <a:endParaRPr lang="en-GB" sz="700" b="1" dirty="0"/>
          </a:p>
        </p:txBody>
      </p:sp>
      <p:sp>
        <p:nvSpPr>
          <p:cNvPr id="56" name="Star: 5 Points 55">
            <a:extLst>
              <a:ext uri="{FF2B5EF4-FFF2-40B4-BE49-F238E27FC236}">
                <a16:creationId xmlns:a16="http://schemas.microsoft.com/office/drawing/2014/main" id="{D1CFE09D-0722-4077-8B46-F5CDCD2EA733}"/>
              </a:ext>
            </a:extLst>
          </p:cNvPr>
          <p:cNvSpPr/>
          <p:nvPr/>
        </p:nvSpPr>
        <p:spPr bwMode="auto">
          <a:xfrm rot="682741">
            <a:off x="7679152" y="2289778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9E19164-CFF7-4D9D-83F2-9B371DF72432}"/>
              </a:ext>
            </a:extLst>
          </p:cNvPr>
          <p:cNvSpPr txBox="1"/>
          <p:nvPr/>
        </p:nvSpPr>
        <p:spPr>
          <a:xfrm>
            <a:off x="7268205" y="2452571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3</a:t>
            </a:r>
            <a:endParaRPr lang="en-GB" sz="700" b="1" dirty="0"/>
          </a:p>
        </p:txBody>
      </p:sp>
      <p:sp>
        <p:nvSpPr>
          <p:cNvPr id="58" name="Star: 5 Points 57">
            <a:extLst>
              <a:ext uri="{FF2B5EF4-FFF2-40B4-BE49-F238E27FC236}">
                <a16:creationId xmlns:a16="http://schemas.microsoft.com/office/drawing/2014/main" id="{0BB70AF9-E8DB-445D-A76E-7F5AC992ED06}"/>
              </a:ext>
            </a:extLst>
          </p:cNvPr>
          <p:cNvSpPr/>
          <p:nvPr/>
        </p:nvSpPr>
        <p:spPr bwMode="auto">
          <a:xfrm rot="682741">
            <a:off x="9279758" y="2264560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C984959-0315-42B6-85B0-C7FD82E13B11}"/>
              </a:ext>
            </a:extLst>
          </p:cNvPr>
          <p:cNvSpPr txBox="1"/>
          <p:nvPr/>
        </p:nvSpPr>
        <p:spPr>
          <a:xfrm>
            <a:off x="8868811" y="2427353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IBD Workshop 1</a:t>
            </a:r>
            <a:endParaRPr lang="en-GB" sz="700" b="1" dirty="0"/>
          </a:p>
        </p:txBody>
      </p:sp>
      <p:sp>
        <p:nvSpPr>
          <p:cNvPr id="60" name="Star: 5 Points 59">
            <a:extLst>
              <a:ext uri="{FF2B5EF4-FFF2-40B4-BE49-F238E27FC236}">
                <a16:creationId xmlns:a16="http://schemas.microsoft.com/office/drawing/2014/main" id="{4A82E291-E078-40B5-B41A-6069BB271939}"/>
              </a:ext>
            </a:extLst>
          </p:cNvPr>
          <p:cNvSpPr/>
          <p:nvPr/>
        </p:nvSpPr>
        <p:spPr bwMode="auto">
          <a:xfrm rot="682741">
            <a:off x="10231170" y="2259175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F4B1EBC-AD16-482F-A6BB-21A82C3A5B22}"/>
              </a:ext>
            </a:extLst>
          </p:cNvPr>
          <p:cNvSpPr txBox="1"/>
          <p:nvPr/>
        </p:nvSpPr>
        <p:spPr>
          <a:xfrm>
            <a:off x="9820223" y="2421968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IBD Workshop 2</a:t>
            </a:r>
            <a:endParaRPr lang="en-GB" sz="700" b="1" dirty="0"/>
          </a:p>
        </p:txBody>
      </p:sp>
      <p:sp>
        <p:nvSpPr>
          <p:cNvPr id="62" name="Star: 5 Points 61">
            <a:extLst>
              <a:ext uri="{FF2B5EF4-FFF2-40B4-BE49-F238E27FC236}">
                <a16:creationId xmlns:a16="http://schemas.microsoft.com/office/drawing/2014/main" id="{FC52689F-D027-45E5-9817-4F2812EB825F}"/>
              </a:ext>
            </a:extLst>
          </p:cNvPr>
          <p:cNvSpPr/>
          <p:nvPr/>
        </p:nvSpPr>
        <p:spPr bwMode="auto">
          <a:xfrm rot="682741">
            <a:off x="11076077" y="2264560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BC6B513-AADA-4ED7-A0DC-03DF60D3FDB6}"/>
              </a:ext>
            </a:extLst>
          </p:cNvPr>
          <p:cNvSpPr txBox="1"/>
          <p:nvPr/>
        </p:nvSpPr>
        <p:spPr>
          <a:xfrm>
            <a:off x="10665130" y="2427353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IBD Workshop 3</a:t>
            </a:r>
            <a:endParaRPr lang="en-GB" sz="700" b="1" dirty="0"/>
          </a:p>
        </p:txBody>
      </p:sp>
      <p:sp>
        <p:nvSpPr>
          <p:cNvPr id="64" name="Star: 5 Points 63">
            <a:extLst>
              <a:ext uri="{FF2B5EF4-FFF2-40B4-BE49-F238E27FC236}">
                <a16:creationId xmlns:a16="http://schemas.microsoft.com/office/drawing/2014/main" id="{C3A900E7-24D0-401E-B905-8AB114F02554}"/>
              </a:ext>
            </a:extLst>
          </p:cNvPr>
          <p:cNvSpPr/>
          <p:nvPr/>
        </p:nvSpPr>
        <p:spPr bwMode="auto">
          <a:xfrm rot="682741">
            <a:off x="7228948" y="2679983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06AFB01-1B51-4D0D-9F93-85AB911549EF}"/>
              </a:ext>
            </a:extLst>
          </p:cNvPr>
          <p:cNvSpPr txBox="1"/>
          <p:nvPr/>
        </p:nvSpPr>
        <p:spPr>
          <a:xfrm>
            <a:off x="6818001" y="2842776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1</a:t>
            </a:r>
            <a:endParaRPr lang="en-GB" sz="700" b="1" dirty="0"/>
          </a:p>
        </p:txBody>
      </p:sp>
      <p:sp>
        <p:nvSpPr>
          <p:cNvPr id="66" name="Star: 5 Points 65">
            <a:extLst>
              <a:ext uri="{FF2B5EF4-FFF2-40B4-BE49-F238E27FC236}">
                <a16:creationId xmlns:a16="http://schemas.microsoft.com/office/drawing/2014/main" id="{28938D57-6C60-4520-97FD-E6ADBBF00934}"/>
              </a:ext>
            </a:extLst>
          </p:cNvPr>
          <p:cNvSpPr/>
          <p:nvPr/>
        </p:nvSpPr>
        <p:spPr bwMode="auto">
          <a:xfrm rot="682741">
            <a:off x="8180360" y="2674598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5417441-C3EC-45BC-9F14-3907A8148D21}"/>
              </a:ext>
            </a:extLst>
          </p:cNvPr>
          <p:cNvSpPr txBox="1"/>
          <p:nvPr/>
        </p:nvSpPr>
        <p:spPr>
          <a:xfrm>
            <a:off x="7769413" y="2837391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2</a:t>
            </a:r>
            <a:endParaRPr lang="en-GB" sz="700" b="1" dirty="0"/>
          </a:p>
        </p:txBody>
      </p:sp>
      <p:sp>
        <p:nvSpPr>
          <p:cNvPr id="68" name="Star: 5 Points 67">
            <a:extLst>
              <a:ext uri="{FF2B5EF4-FFF2-40B4-BE49-F238E27FC236}">
                <a16:creationId xmlns:a16="http://schemas.microsoft.com/office/drawing/2014/main" id="{EB541136-B457-4F4A-9B53-AB00B2694497}"/>
              </a:ext>
            </a:extLst>
          </p:cNvPr>
          <p:cNvSpPr/>
          <p:nvPr/>
        </p:nvSpPr>
        <p:spPr bwMode="auto">
          <a:xfrm rot="682741">
            <a:off x="9025267" y="2679983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0EBC666-77A1-4FB0-B7B5-830359ACFAF9}"/>
              </a:ext>
            </a:extLst>
          </p:cNvPr>
          <p:cNvSpPr txBox="1"/>
          <p:nvPr/>
        </p:nvSpPr>
        <p:spPr>
          <a:xfrm>
            <a:off x="8614320" y="2842776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RA Workshop 3</a:t>
            </a:r>
            <a:endParaRPr lang="en-GB" sz="700" b="1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1259913-8EC7-4C5C-9D41-DEB82FACF02F}"/>
              </a:ext>
            </a:extLst>
          </p:cNvPr>
          <p:cNvSpPr txBox="1"/>
          <p:nvPr/>
        </p:nvSpPr>
        <p:spPr>
          <a:xfrm>
            <a:off x="10569140" y="2698057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i="1" dirty="0"/>
              <a:t>UK IBD Meetings to occur in Sept’21</a:t>
            </a:r>
            <a:endParaRPr lang="en-GB" sz="700" i="1" dirty="0"/>
          </a:p>
        </p:txBody>
      </p:sp>
      <p:sp>
        <p:nvSpPr>
          <p:cNvPr id="71" name="Star: 5 Points 70">
            <a:extLst>
              <a:ext uri="{FF2B5EF4-FFF2-40B4-BE49-F238E27FC236}">
                <a16:creationId xmlns:a16="http://schemas.microsoft.com/office/drawing/2014/main" id="{F43C0426-1504-4E6A-8059-709A40F563A7}"/>
              </a:ext>
            </a:extLst>
          </p:cNvPr>
          <p:cNvSpPr/>
          <p:nvPr/>
        </p:nvSpPr>
        <p:spPr bwMode="auto">
          <a:xfrm rot="682741">
            <a:off x="4672246" y="3909439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52A22C0-46C2-4733-B974-82CD68F431C1}"/>
              </a:ext>
            </a:extLst>
          </p:cNvPr>
          <p:cNvSpPr txBox="1"/>
          <p:nvPr/>
        </p:nvSpPr>
        <p:spPr>
          <a:xfrm>
            <a:off x="4261299" y="4072232"/>
            <a:ext cx="95141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MOC Meeting NL</a:t>
            </a:r>
            <a:endParaRPr lang="en-GB" sz="700" b="1" dirty="0"/>
          </a:p>
        </p:txBody>
      </p:sp>
      <p:sp>
        <p:nvSpPr>
          <p:cNvPr id="73" name="Star: 5 Points 72">
            <a:extLst>
              <a:ext uri="{FF2B5EF4-FFF2-40B4-BE49-F238E27FC236}">
                <a16:creationId xmlns:a16="http://schemas.microsoft.com/office/drawing/2014/main" id="{423C0810-2383-401F-AC58-4FE0AF4C79CA}"/>
              </a:ext>
            </a:extLst>
          </p:cNvPr>
          <p:cNvSpPr/>
          <p:nvPr/>
        </p:nvSpPr>
        <p:spPr bwMode="auto">
          <a:xfrm rot="682741">
            <a:off x="5228954" y="3914998"/>
            <a:ext cx="182880" cy="182880"/>
          </a:xfrm>
          <a:prstGeom prst="star5">
            <a:avLst/>
          </a:prstGeom>
          <a:solidFill>
            <a:srgbClr val="ADCF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536862A-0D00-429C-BBEB-7A0EFA413D76}"/>
              </a:ext>
            </a:extLst>
          </p:cNvPr>
          <p:cNvSpPr txBox="1"/>
          <p:nvPr/>
        </p:nvSpPr>
        <p:spPr>
          <a:xfrm>
            <a:off x="5280858" y="3878213"/>
            <a:ext cx="951412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700" b="1" dirty="0"/>
              <a:t>MOC Meeting </a:t>
            </a:r>
            <a:r>
              <a:rPr lang="en-US" sz="700" b="1" dirty="0" err="1"/>
              <a:t>Bellux</a:t>
            </a:r>
            <a:endParaRPr lang="en-GB" sz="700" b="1" dirty="0"/>
          </a:p>
        </p:txBody>
      </p:sp>
    </p:spTree>
    <p:extLst>
      <p:ext uri="{BB962C8B-B14F-4D97-AF65-F5344CB8AC3E}">
        <p14:creationId xmlns:p14="http://schemas.microsoft.com/office/powerpoint/2010/main" val="3292674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D36DC0-495F-41DE-9972-28871774B936}">
  <ds:schemaRefs>
    <ds:schemaRef ds:uri="http://purl.org/dc/terms/"/>
    <ds:schemaRef ds:uri="http://www.w3.org/XML/1998/namespace"/>
    <ds:schemaRef ds:uri="http://schemas.microsoft.com/office/2006/documentManagement/types"/>
    <ds:schemaRef ds:uri="0d8c423f-ad67-45a2-8b05-97a43a5b782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ead0e857-dec6-4b1e-afd3-48dbfac7dd48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FD106A2-3B67-462F-AE34-0FB50BE117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5D3FD7-1EC7-41C1-AFE9-4FCF5DF803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58</TotalTime>
  <Words>542</Words>
  <Application>Microsoft Office PowerPoint</Application>
  <PresentationFormat>Widescreen</PresentationFormat>
  <Paragraphs>9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Roboto</vt:lpstr>
      <vt:lpstr>Tahoma</vt:lpstr>
      <vt:lpstr>Times</vt:lpstr>
      <vt:lpstr>Wingdings</vt:lpstr>
      <vt:lpstr>Galapagos_template_Basic</vt:lpstr>
      <vt:lpstr>think-cell Slide</vt:lpstr>
      <vt:lpstr>Project Status by Country </vt:lpstr>
      <vt:lpstr>Project Timeline by count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lexander Richwood</cp:lastModifiedBy>
  <cp:revision>1</cp:revision>
  <dcterms:created xsi:type="dcterms:W3CDTF">2021-04-23T07:17:40Z</dcterms:created>
  <dcterms:modified xsi:type="dcterms:W3CDTF">2021-04-26T09:4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